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DF65"/>
    <a:srgbClr val="FEC8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83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DE0F4F-69E9-3323-8CB8-AB08F31765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324BF7-E8B9-F630-D6B4-0252D70A68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4FF67A-7D13-4214-548D-BAA0FEFEF8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B133EF-4AA5-4A3F-8331-1AA9E93A1947}" type="datetimeFigureOut">
              <a:rPr lang="en-US" smtClean="0"/>
              <a:t>1/1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F3C635-824F-3972-8A7D-5661CB7708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580ACD-A202-DA1A-C7DD-5BF27042C7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D25AF-C8F6-4A9D-B1BA-49F062B683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000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42A6EB-BC3E-968B-6752-366A0812EC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731FB7D-3160-68A3-A98D-2FCA4D1FE4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C7A91F-26E3-A8F5-24D9-122B05AFEC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B133EF-4AA5-4A3F-8331-1AA9E93A1947}" type="datetimeFigureOut">
              <a:rPr lang="en-US" smtClean="0"/>
              <a:t>1/1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0B9A0B-3B5F-43B8-E1FC-9874831644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0A3616-E0BD-7F92-1C14-86CB427B7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D25AF-C8F6-4A9D-B1BA-49F062B683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13471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099BD5A-8C95-B443-3133-3E47DCC75E9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4179433-D8F3-A04D-16A5-2770AAA4A8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4F7E42-C5CD-28E7-B90E-3E7EFF96A8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B133EF-4AA5-4A3F-8331-1AA9E93A1947}" type="datetimeFigureOut">
              <a:rPr lang="en-US" smtClean="0"/>
              <a:t>1/1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C2D396-2E83-E153-8DE9-C388EE24CC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AFFCD1-8973-175D-4585-218E8F300C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D25AF-C8F6-4A9D-B1BA-49F062B683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96669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B4DCA8-EFC4-CF95-E05A-3258A7FCD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43AED0-95C5-DA52-119C-CFAB0B93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146E43-E34F-0248-2305-8C3C3E8BB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B133EF-4AA5-4A3F-8331-1AA9E93A1947}" type="datetimeFigureOut">
              <a:rPr lang="en-US" smtClean="0"/>
              <a:t>1/1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2C539F-86F0-B9EE-9AE3-7EE31DE335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1262C7-5854-3A68-7097-A381673063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D25AF-C8F6-4A9D-B1BA-49F062B683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8497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983200-D336-EA28-25F3-351FE9B924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E7E65A-33BE-22D7-D527-5708C9419F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D52528-041A-B095-6AB8-518D0B3498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B133EF-4AA5-4A3F-8331-1AA9E93A1947}" type="datetimeFigureOut">
              <a:rPr lang="en-US" smtClean="0"/>
              <a:t>1/1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CF4642-715D-8A10-987C-6B5E31230B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7B3950-BB7A-92B1-70BB-EB5B7B22F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D25AF-C8F6-4A9D-B1BA-49F062B683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2743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5572EE-80D8-C3E0-B222-062D16419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34C6E4-2233-056C-F214-3E3E1856351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A9C91C9-C03D-A979-4CC7-93FFD7EF91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5BE524-5113-BB42-D9A1-47C481ED5A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B133EF-4AA5-4A3F-8331-1AA9E93A1947}" type="datetimeFigureOut">
              <a:rPr lang="en-US" smtClean="0"/>
              <a:t>1/1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393C0C-5FBD-DF6B-8D6E-DBFCED9907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294A1B-3031-AE67-2F9F-DA02D1A5AB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D25AF-C8F6-4A9D-B1BA-49F062B683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2935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E5861F-449A-4766-52B9-E8D2D5CBE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3D8957-AFF1-D7D9-BAFC-F3117E7873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98D191-C753-FD82-5790-250C3A2291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1FF22C9-F125-E86E-50CB-AA796AC6B0F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A9F73EF-FEB8-B2F6-A95C-B4C16C7A2C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1991758-FC0F-49E5-9E9C-C08EE2889E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B133EF-4AA5-4A3F-8331-1AA9E93A1947}" type="datetimeFigureOut">
              <a:rPr lang="en-US" smtClean="0"/>
              <a:t>1/15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155E772-8AF9-F917-4F25-7F1CC5491E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A0A00CA-92AF-1048-F6AB-F5609145B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D25AF-C8F6-4A9D-B1BA-49F062B683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77935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AECC26-6A24-D4F2-1174-A1B4E794FB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188F635-E1A8-3968-7D8D-69C0500484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B133EF-4AA5-4A3F-8331-1AA9E93A1947}" type="datetimeFigureOut">
              <a:rPr lang="en-US" smtClean="0"/>
              <a:t>1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FE8092-3E36-45B5-0584-2C944D1B6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47B084-D0BE-B9C2-385A-518F59A11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D25AF-C8F6-4A9D-B1BA-49F062B683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392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6A6C719-8198-32F4-725B-62614F07B5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B133EF-4AA5-4A3F-8331-1AA9E93A1947}" type="datetimeFigureOut">
              <a:rPr lang="en-US" smtClean="0"/>
              <a:t>1/1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F8A2AA-42A3-07B6-D0CE-357EBBDD7E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33CD0-67F6-7C2E-B54F-DACAA0E1DF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D25AF-C8F6-4A9D-B1BA-49F062B683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0979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E6705B-6DEB-DBCE-18E9-0EA5BDD221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E250E3-DEA1-DF94-4212-BB143D38F7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F0BA39-5BFA-A538-4B00-04D9E56594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931A324-B638-3096-A954-2C957CAEC1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B133EF-4AA5-4A3F-8331-1AA9E93A1947}" type="datetimeFigureOut">
              <a:rPr lang="en-US" smtClean="0"/>
              <a:t>1/1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CB1E6E-7994-A05B-00C2-BAB189ED2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4EF8AA-CC34-C676-A52D-6DA783152C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D25AF-C8F6-4A9D-B1BA-49F062B683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2886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17FDD4-B755-B770-90BD-BF4EA61C9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E1F8ABB-ABA9-4AD1-C31C-3F7F0BC7117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149814-83FB-6E46-0BBD-F3EF67E18F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5C5C6B2-07A5-0030-7EB0-6C32152C3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B133EF-4AA5-4A3F-8331-1AA9E93A1947}" type="datetimeFigureOut">
              <a:rPr lang="en-US" smtClean="0"/>
              <a:t>1/15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6B213B-72E4-D1B7-5364-8D12AEDFF3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37FAC6-5295-338B-45EB-BEFEB2628B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0D25AF-C8F6-4A9D-B1BA-49F062B683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4674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072D47F-7BF8-EE79-F23F-2DE74E9E4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70999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A161428-F316-2F96-7450-17303EACFF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6243F0-30F5-A97B-B084-4E09B13F9A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135FB3-A210-D5E9-07FB-959622EC6A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9B133EF-4AA5-4A3F-8331-1AA9E93A1947}" type="datetimeFigureOut">
              <a:rPr lang="en-US" smtClean="0"/>
              <a:t>1/1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58D4BC-85E3-606D-58C1-AF7F02EC88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3ABB87-F2FA-674B-3654-EFA4D592AC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20D25AF-C8F6-4A9D-B1BA-49F062B683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676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3B42A7E-03F2-F1FC-5BBA-8090BF33BF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6853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B86AF38-F476-F3C6-9AF7-8852E7982077}"/>
              </a:ext>
            </a:extLst>
          </p:cNvPr>
          <p:cNvSpPr/>
          <p:nvPr/>
        </p:nvSpPr>
        <p:spPr>
          <a:xfrm>
            <a:off x="3482340" y="2157984"/>
            <a:ext cx="4910328" cy="22621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9E380BC-DAA7-7122-E3F0-EE8126F834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1912" y="2548128"/>
            <a:ext cx="1091184" cy="109118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1C34B6A-4699-2B25-8873-F4A5B6F30DEC}"/>
              </a:ext>
            </a:extLst>
          </p:cNvPr>
          <p:cNvSpPr txBox="1"/>
          <p:nvPr/>
        </p:nvSpPr>
        <p:spPr>
          <a:xfrm>
            <a:off x="3674364" y="3730752"/>
            <a:ext cx="4526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Montserrat Light" panose="00000400000000000000" pitchFamily="2" charset="0"/>
              </a:rPr>
              <a:t>POWER BI ICON THEME GENERATOR</a:t>
            </a:r>
          </a:p>
        </p:txBody>
      </p:sp>
    </p:spTree>
    <p:extLst>
      <p:ext uri="{BB962C8B-B14F-4D97-AF65-F5344CB8AC3E}">
        <p14:creationId xmlns:p14="http://schemas.microsoft.com/office/powerpoint/2010/main" val="10377882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5</Words>
  <Application>Microsoft Office PowerPoint</Application>
  <PresentationFormat>Widescreen</PresentationFormat>
  <Paragraphs>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ptos Display</vt:lpstr>
      <vt:lpstr>Arial</vt:lpstr>
      <vt:lpstr>Montserrat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yle Kramer</dc:creator>
  <cp:lastModifiedBy>Kyle Kramer</cp:lastModifiedBy>
  <cp:revision>1</cp:revision>
  <dcterms:created xsi:type="dcterms:W3CDTF">2025-01-15T15:40:37Z</dcterms:created>
  <dcterms:modified xsi:type="dcterms:W3CDTF">2025-01-15T15:44:49Z</dcterms:modified>
</cp:coreProperties>
</file>